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595" r:id="rId2"/>
    <p:sldId id="620" r:id="rId3"/>
    <p:sldId id="621" r:id="rId4"/>
    <p:sldId id="629" r:id="rId5"/>
    <p:sldId id="627" r:id="rId6"/>
    <p:sldId id="628" r:id="rId7"/>
    <p:sldId id="626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825"/>
    <a:srgbClr val="001581"/>
    <a:srgbClr val="FFFFFF"/>
    <a:srgbClr val="007FA3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88" autoAdjust="0"/>
    <p:restoredTop sz="95165" autoAdjust="0"/>
  </p:normalViewPr>
  <p:slideViewPr>
    <p:cSldViewPr>
      <p:cViewPr varScale="1">
        <p:scale>
          <a:sx n="63" d="100"/>
          <a:sy n="63" d="100"/>
        </p:scale>
        <p:origin x="708" y="44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11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11/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ND111: Introduction to Digital Desig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120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A71F377-1424-36FB-C924-3D47A9AF3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Lab 6: Sequence Detector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ND                                                                                                                            CND111: Intro. to Digital Desig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97315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50E6C10-EEF4-7B73-5717-5D57B42CF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7C949A5-1592-4D90-A34B-6B4E10D76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5403332"/>
          </a:xfrm>
        </p:spPr>
        <p:txBody>
          <a:bodyPr/>
          <a:lstStyle/>
          <a:p>
            <a:r>
              <a:rPr lang="en-US" dirty="0"/>
              <a:t>This lab will implement a sequence detector for the non-overlapping bit stream of “1011”. 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DBB8E2-087D-0932-C7A9-257BF14FFF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F9AAC0-5FE1-4C1A-5EBB-5EE5B7E7FC5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799280-F391-C14D-4C4D-6F3E4508D8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764" y="2099696"/>
            <a:ext cx="9812061" cy="435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3665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C30D9-3E3E-FBAF-E51D-61C83E6EE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if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094C31-989C-FC76-F0A0-390FD5DC4F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16-bit word will be read from a 16x32 ROM.</a:t>
            </a:r>
          </a:p>
          <a:p>
            <a:r>
              <a:rPr lang="en-US" dirty="0"/>
              <a:t>A Parallel-in-serial-out (PISO) block will load the 16-bit word from the ROM in a register and output a single bit every clock cycle.</a:t>
            </a:r>
          </a:p>
          <a:p>
            <a:r>
              <a:rPr lang="en-US" dirty="0"/>
              <a:t>An FSM will detect if the sequence “1011” is received</a:t>
            </a:r>
          </a:p>
          <a:p>
            <a:r>
              <a:rPr lang="en-US" dirty="0"/>
              <a:t>A counter will count how many “1011” sequences are there in a 16-bit word.</a:t>
            </a:r>
          </a:p>
          <a:p>
            <a:r>
              <a:rPr lang="en-US" dirty="0"/>
              <a:t>An even/odd checker block will output 1 if the number of sequences is odd and will output 0 if it is even.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48926E-7523-5C13-0A24-1D15C5F504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44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4C269-C14B-1192-4261-191C70CC2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create you own symbols and block diagr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F02A2E-1427-B14E-0487-85D26B8252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Quartus software, you can create your own symbols from HDL design entities.</a:t>
            </a:r>
          </a:p>
          <a:p>
            <a:r>
              <a:rPr lang="en-US" dirty="0"/>
              <a:t>To create a block design file from a Verilog HDL design file, click File &gt; Create/Update, and click Create Symbol Files for Current File.</a:t>
            </a:r>
          </a:p>
          <a:p>
            <a:r>
              <a:rPr lang="en-US" dirty="0"/>
              <a:t>To create a new schematic file (*.</a:t>
            </a:r>
            <a:r>
              <a:rPr lang="en-US" dirty="0" err="1"/>
              <a:t>bdf</a:t>
            </a:r>
            <a:r>
              <a:rPr lang="en-US" dirty="0"/>
              <a:t>) in Quartus, point to File &gt; New and select the Block Diagram/Schematic File.</a:t>
            </a:r>
          </a:p>
          <a:p>
            <a:r>
              <a:rPr lang="en-US" dirty="0"/>
              <a:t>To insert block symbols into the schematic, double-click the schematic file and choose the appropriate block symbol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514F50-A703-222B-9E1D-8C8D55891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53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4C269-C14B-1192-4261-191C70CC2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create you own symbols and block dia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514F50-A703-222B-9E1D-8C8D55891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2CF33F0-0A56-B065-AD27-66F3850889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96" y="1828800"/>
            <a:ext cx="11246026" cy="297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051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BFD3F-FAB2-8DC8-BB4C-1E52A6197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1373DC-684E-DA33-82F6-218FB2934A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rite Verilog Code for each module</a:t>
            </a:r>
          </a:p>
          <a:p>
            <a:r>
              <a:rPr lang="en-US" dirty="0"/>
              <a:t>Create the top-level design using Quartus’s block diagram tool.</a:t>
            </a:r>
          </a:p>
          <a:p>
            <a:r>
              <a:rPr lang="en-US" dirty="0"/>
              <a:t>Design a testbench for the top level and test the design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F88662-80BC-C108-3D16-AA463497A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38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14696</TotalTime>
  <Words>320</Words>
  <Application>Microsoft Office PowerPoint</Application>
  <PresentationFormat>Widescreen</PresentationFormat>
  <Paragraphs>2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Times New Roman</vt:lpstr>
      <vt:lpstr>Wingdings</vt:lpstr>
      <vt:lpstr>508 Lecture</vt:lpstr>
      <vt:lpstr>think-cell Slide</vt:lpstr>
      <vt:lpstr>CND111: Introduction to Digital Design</vt:lpstr>
      <vt:lpstr>Lab 6: Sequence Detector </vt:lpstr>
      <vt:lpstr>Objective</vt:lpstr>
      <vt:lpstr>Specification</vt:lpstr>
      <vt:lpstr>How to create you own symbols and block diagram</vt:lpstr>
      <vt:lpstr>How to create you own symbols and block diagram</vt:lpstr>
      <vt:lpstr>Requirements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Rana Badran</cp:lastModifiedBy>
  <cp:revision>3760</cp:revision>
  <dcterms:created xsi:type="dcterms:W3CDTF">2014-07-14T20:04:21Z</dcterms:created>
  <dcterms:modified xsi:type="dcterms:W3CDTF">2023-11-02T09:19:37Z</dcterms:modified>
</cp:coreProperties>
</file>